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2" d="100"/>
          <a:sy n="112" d="100"/>
        </p:scale>
        <p:origin x="758" y="91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PAR-EPS)" userId="fd3b2067-2981-4ad8-bf3a-d2e1004e4fa8" providerId="ADAL" clId="{D1941999-E3F1-474B-B63F-DC57E184CDD6}"/>
    <pc:docChg chg="modSld">
      <pc:chgData name="Weigel Stefan (PAR-EPS)" userId="fd3b2067-2981-4ad8-bf3a-d2e1004e4fa8" providerId="ADAL" clId="{D1941999-E3F1-474B-B63F-DC57E184CDD6}" dt="2025-01-06T11:48:36.754" v="4" actId="20577"/>
      <pc:docMkLst>
        <pc:docMk/>
      </pc:docMkLst>
      <pc:sldChg chg="modSp mod">
        <pc:chgData name="Weigel Stefan (PAR-EPS)" userId="fd3b2067-2981-4ad8-bf3a-d2e1004e4fa8" providerId="ADAL" clId="{D1941999-E3F1-474B-B63F-DC57E184CDD6}" dt="2025-01-06T11:48:36.754" v="4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D1941999-E3F1-474B-B63F-DC57E184CDD6}" dt="2025-01-06T11:48:36.754" v="4" actId="20577"/>
          <ac:spMkLst>
            <pc:docMk/>
            <pc:sldMk cId="1708932620" sldId="407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5E1EAE2D-DB0E-4F68-8F8F-C75F5F5C794F}"/>
    <pc:docChg chg="modSld">
      <pc:chgData name="Weigel Stefan (PAR-EPS)" userId="fd3b2067-2981-4ad8-bf3a-d2e1004e4fa8" providerId="ADAL" clId="{5E1EAE2D-DB0E-4F68-8F8F-C75F5F5C794F}" dt="2024-04-11T13:53:15.228" v="12"/>
      <pc:docMkLst>
        <pc:docMk/>
      </pc:docMkLst>
      <pc:sldChg chg="modSp mod setBg">
        <pc:chgData name="Weigel Stefan (PAR-EPS)" userId="fd3b2067-2981-4ad8-bf3a-d2e1004e4fa8" providerId="ADAL" clId="{5E1EAE2D-DB0E-4F68-8F8F-C75F5F5C794F}" dt="2024-04-11T13:53:15.228" v="12"/>
        <pc:sldMkLst>
          <pc:docMk/>
          <pc:sldMk cId="1708932620" sldId="407"/>
        </pc:sldMkLst>
        <pc:spChg chg="mod">
          <ac:chgData name="Weigel Stefan (PAR-EPS)" userId="fd3b2067-2981-4ad8-bf3a-d2e1004e4fa8" providerId="ADAL" clId="{5E1EAE2D-DB0E-4F68-8F8F-C75F5F5C794F}" dt="2024-04-11T13:52:41.304" v="6" actId="255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PS)" userId="fd3b2067-2981-4ad8-bf3a-d2e1004e4fa8" providerId="ADAL" clId="{5E1EAE2D-DB0E-4F68-8F8F-C75F5F5C794F}" dt="2024-04-11T13:52:32.573" v="4" actId="255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PS)" userId="fd3b2067-2981-4ad8-bf3a-d2e1004e4fa8" providerId="ADAL" clId="{5E1EAE2D-DB0E-4F68-8F8F-C75F5F5C794F}" dt="2024-04-11T13:53:15.228" v="12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7D466410-9983-452C-91BC-258472488774}"/>
    <pc:docChg chg="modSld">
      <pc:chgData name="Weigel Stefan (PAR-EPS)" userId="fd3b2067-2981-4ad8-bf3a-d2e1004e4fa8" providerId="ADAL" clId="{7D466410-9983-452C-91BC-258472488774}" dt="2024-02-28T13:58:06.842" v="15" actId="20577"/>
      <pc:docMkLst>
        <pc:docMk/>
      </pc:docMkLst>
      <pc:sldChg chg="modSp mod">
        <pc:chgData name="Weigel Stefan (PAR-EPS)" userId="fd3b2067-2981-4ad8-bf3a-d2e1004e4fa8" providerId="ADAL" clId="{7D466410-9983-452C-91BC-258472488774}" dt="2024-02-28T13:58:06.842" v="15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7D466410-9983-452C-91BC-258472488774}" dt="2024-02-28T13:54:53.473" v="2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D466410-9983-452C-91BC-258472488774}" dt="2024-02-28T13:54:58.617" v="3"/>
          <ac:spMkLst>
            <pc:docMk/>
            <pc:sldMk cId="1708932620" sldId="407"/>
            <ac:spMk id="7" creationId="{5353CABD-91F1-4DCF-A637-4F62527C40F1}"/>
          </ac:spMkLst>
        </pc:spChg>
        <pc:spChg chg="mod">
          <ac:chgData name="Weigel Stefan (PAR-EPS)" userId="fd3b2067-2981-4ad8-bf3a-d2e1004e4fa8" providerId="ADAL" clId="{7D466410-9983-452C-91BC-258472488774}" dt="2024-02-28T13:58:06.842" v="15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17472506019392"/>
          <c:y val="3.9318010048961703E-2"/>
          <c:w val="0.84891618403071512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Densité du réseau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vège</c:v>
                </c:pt>
                <c:pt idx="1">
                  <c:v>Finlande</c:v>
                </c:pt>
                <c:pt idx="2">
                  <c:v>Suède</c:v>
                </c:pt>
                <c:pt idx="3">
                  <c:v>Espagne</c:v>
                </c:pt>
                <c:pt idx="4">
                  <c:v>Roumanie</c:v>
                </c:pt>
                <c:pt idx="5">
                  <c:v>France</c:v>
                </c:pt>
                <c:pt idx="6">
                  <c:v>Italie</c:v>
                </c:pt>
                <c:pt idx="7">
                  <c:v>Danemark</c:v>
                </c:pt>
                <c:pt idx="8">
                  <c:v>Pologne</c:v>
                </c:pt>
                <c:pt idx="9">
                  <c:v>Autriche</c:v>
                </c:pt>
                <c:pt idx="10">
                  <c:v>Grande-Bretagne</c:v>
                </c:pt>
                <c:pt idx="11">
                  <c:v>Pays-Bas</c:v>
                </c:pt>
                <c:pt idx="12">
                  <c:v>Allemagne</c:v>
                </c:pt>
                <c:pt idx="13">
                  <c:v>Tchéquie</c:v>
                </c:pt>
                <c:pt idx="14">
                  <c:v>Suisse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512148686818</c:v>
                </c:pt>
                <c:pt idx="1">
                  <c:v>17.478746258248101</c:v>
                </c:pt>
                <c:pt idx="2">
                  <c:v>24.375089400657998</c:v>
                </c:pt>
                <c:pt idx="3">
                  <c:v>31.8459908732112</c:v>
                </c:pt>
                <c:pt idx="4">
                  <c:v>44.5096015906174</c:v>
                </c:pt>
                <c:pt idx="5">
                  <c:v>50.738332178420499</c:v>
                </c:pt>
                <c:pt idx="6">
                  <c:v>55.720523439232799</c:v>
                </c:pt>
                <c:pt idx="7">
                  <c:v>57.029702970297002</c:v>
                </c:pt>
                <c:pt idx="8">
                  <c:v>62.639455258905897</c:v>
                </c:pt>
                <c:pt idx="9">
                  <c:v>66.489425117432503</c:v>
                </c:pt>
                <c:pt idx="10">
                  <c:v>69.225317445973502</c:v>
                </c:pt>
                <c:pt idx="11">
                  <c:v>81.358018085504796</c:v>
                </c:pt>
                <c:pt idx="12">
                  <c:v>108.205688971919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6.0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nsité des réseaux ferroviaires en Europe </a:t>
            </a:r>
            <a:r>
              <a:rPr lang="fr-FR"/>
              <a:t>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87612533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ongueur des lignes ferroviaires en mètres par kilomètre carré du territoire nationa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5A793D-D240-4A92-A903-36E932AE2C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ensité des réseaux ferroviaires en Europe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nsité des réseaux ferroviaires en Europe en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1-06T11:5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